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9"/>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5A97CC5E-13B0-4592-B7B1-0BA19B9CCCA3}">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8" d="100"/>
          <a:sy n="48" d="100"/>
        </p:scale>
        <p:origin x="726" y="36"/>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notesMaster" Target="notesMasters/notesMaster1.xml"/><Relationship Id="rId60" Type="http://schemas.openxmlformats.org/officeDocument/2006/relationships/presProps" Target="presProps.xml"/><Relationship Id="rId61" Type="http://schemas.openxmlformats.org/officeDocument/2006/relationships/viewProps" Target="viewProps.xml"/><Relationship Id="rId62" Type="http://schemas.openxmlformats.org/officeDocument/2006/relationships/theme" Target="theme/theme1.xml"/><Relationship Id="rId63" Type="http://schemas.openxmlformats.org/officeDocument/2006/relationships/tableStyles" Target="tableStyles.xml"/><Relationship Id="rId64" Type="http://schemas.microsoft.com/office/2015/10/relationships/revisionInfo" Target="revisionInfo.xml"/><Relationship Id="rId65"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9944876440793532</c:v>
                </c:pt>
                <c:pt idx="3">
                  <c:v>0.002441524269792252</c:v>
                </c:pt>
                <c:pt idx="4">
                  <c:v>0.009070736088440655</c:v>
                </c:pt>
                <c:pt idx="5">
                  <c:v>0.0066779656103044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060293469893772</c:v>
                </c:pt>
                <c:pt idx="2">
                  <c:v>0.006767117445120051</c:v>
                </c:pt>
                <c:pt idx="3">
                  <c:v>0.038649494795227314</c:v>
                </c:pt>
                <c:pt idx="4">
                  <c:v>0.08806839263622435</c:v>
                </c:pt>
                <c:pt idx="5">
                  <c:v>0.00874750404146062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1448395726764745</c:v>
                </c:pt>
                <c:pt idx="5">
                  <c:v>0.0009528508141660599</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1061428902955416</c:v>
                </c:pt>
                <c:pt idx="2">
                  <c:v>0.023389164467816866</c:v>
                </c:pt>
                <c:pt idx="3">
                  <c:v>0.029075836990662737</c:v>
                </c:pt>
                <c:pt idx="4">
                  <c:v>0.1122085303314333</c:v>
                </c:pt>
                <c:pt idx="5">
                  <c:v>0.0873072470204389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218282918329833</c:v>
                </c:pt>
                <c:pt idx="1">
                  <c:v>0.01198652660068302</c:v>
                </c:pt>
                <c:pt idx="2">
                  <c:v>0.051156208478813595</c:v>
                </c:pt>
                <c:pt idx="3">
                  <c:v>0.12988043355866824</c:v>
                </c:pt>
                <c:pt idx="4">
                  <c:v>0.06040954934053586</c:v>
                </c:pt>
                <c:pt idx="5">
                  <c:v>0.003614450870835684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73416783754474</c:v>
                </c:pt>
                <c:pt idx="1">
                  <c:v>0.040453124052177075</c:v>
                </c:pt>
                <c:pt idx="2">
                  <c:v>0.12468065232928348</c:v>
                </c:pt>
                <c:pt idx="3">
                  <c:v>0.2406692975746519</c:v>
                </c:pt>
                <c:pt idx="4">
                  <c:v>0.42350166098658626</c:v>
                </c:pt>
                <c:pt idx="5">
                  <c:v>0.16609207976541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400150779786381</c:v>
                </c:pt>
                <c:pt idx="4">
                  <c:v>0.028798751042182855</c:v>
                </c:pt>
                <c:pt idx="5">
                  <c:v>0.0042842079719034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133835699403206</c:v>
                </c:pt>
                <c:pt idx="1">
                  <c:v>0.019618191826917</c:v>
                </c:pt>
                <c:pt idx="2">
                  <c:v>0.0007402755160323117</c:v>
                </c:pt>
                <c:pt idx="3">
                  <c:v>0.32972950609608237</c:v>
                </c:pt>
                <c:pt idx="4">
                  <c:v>0.6455594961322716</c:v>
                </c:pt>
                <c:pt idx="5">
                  <c:v>0.00363914685875637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133835699403206</c:v>
                </c:pt>
                <c:pt idx="1">
                  <c:v>0.019618191826917</c:v>
                </c:pt>
                <c:pt idx="2">
                  <c:v>0.0007402755160323117</c:v>
                </c:pt>
                <c:pt idx="3">
                  <c:v>0.32972950609608237</c:v>
                </c:pt>
                <c:pt idx="4">
                  <c:v>0.6455594961322716</c:v>
                </c:pt>
                <c:pt idx="5">
                  <c:v>0.00363914685875637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73546925599385</c:v>
                </c:pt>
                <c:pt idx="4">
                  <c:v>0.025019581296125446</c:v>
                </c:pt>
                <c:pt idx="5">
                  <c:v>0.47511897357370914</c:v>
                </c:pt>
                <c:pt idx="6">
                  <c:v>0.00215418832687153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515530148115709</c:v>
                </c:pt>
                <c:pt idx="4">
                  <c:v>0.03188640169921914</c:v>
                </c:pt>
                <c:pt idx="5">
                  <c:v>0.452583450185071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515530148115709</c:v>
                </c:pt>
                <c:pt idx="4">
                  <c:v>0.03188640169921914</c:v>
                </c:pt>
                <c:pt idx="5">
                  <c:v>0.452583450185071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3167420955609284</c:v>
                </c:pt>
                <c:pt idx="2">
                  <c:v>0.02593075178581744</c:v>
                </c:pt>
                <c:pt idx="3">
                  <c:v>0.025559071321435884</c:v>
                </c:pt>
                <c:pt idx="4">
                  <c:v>0.043968273662884055</c:v>
                </c:pt>
                <c:pt idx="5">
                  <c:v>0.02429450809942457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994781185856843</c:v>
                </c:pt>
                <c:pt idx="3">
                  <c:v>0.004501914675469937</c:v>
                </c:pt>
                <c:pt idx="4">
                  <c:v>0.011305819381795167</c:v>
                </c:pt>
                <c:pt idx="5">
                  <c:v>0.005816107318079641</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4427815498280353</c:v>
                </c:pt>
                <c:pt idx="2">
                  <c:v>0.011305285300462193</c:v>
                </c:pt>
                <c:pt idx="3">
                  <c:v>0.05126922482700534</c:v>
                </c:pt>
                <c:pt idx="4">
                  <c:v>0.09102953624585117</c:v>
                </c:pt>
                <c:pt idx="5">
                  <c:v>0.00975764849979180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05041815051463719</c:v>
                </c:pt>
                <c:pt idx="5">
                  <c:v>0.000896949455361223</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9169833645341264</c:v>
                </c:pt>
                <c:pt idx="3">
                  <c:v>0.02487907233591116</c:v>
                </c:pt>
                <c:pt idx="4">
                  <c:v>0.08289682322017662</c:v>
                </c:pt>
                <c:pt idx="5">
                  <c:v>0.085062873843515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079323119211685</c:v>
                </c:pt>
                <c:pt idx="1">
                  <c:v>0.01990056861213466</c:v>
                </c:pt>
                <c:pt idx="2">
                  <c:v>0.06444620339496548</c:v>
                </c:pt>
                <c:pt idx="3">
                  <c:v>0.1290805290853337</c:v>
                </c:pt>
                <c:pt idx="4">
                  <c:v>0.0551660497873097</c:v>
                </c:pt>
                <c:pt idx="5">
                  <c:v>0.00412038861370503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77040218574147</c:v>
                </c:pt>
                <c:pt idx="2">
                  <c:v>0.016803319258934645</c:v>
                </c:pt>
                <c:pt idx="3">
                  <c:v>0.033032782088499676</c:v>
                </c:pt>
                <c:pt idx="4">
                  <c:v>0.09814777225172511</c:v>
                </c:pt>
                <c:pt idx="5">
                  <c:v>0.018589343088041478</c:v>
                </c:pt>
                <c:pt idx="6">
                  <c:v>0.005189080124893977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5865898307008078</c:v>
                </c:pt>
                <c:pt idx="4">
                  <c:v>0.03164931246462071</c:v>
                </c:pt>
                <c:pt idx="5">
                  <c:v>0.003424793056966408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77040218574147</c:v>
                </c:pt>
                <c:pt idx="2">
                  <c:v>0.016803319258934645</c:v>
                </c:pt>
                <c:pt idx="3">
                  <c:v>0.033032782088499676</c:v>
                </c:pt>
                <c:pt idx="4">
                  <c:v>0.09814777225172511</c:v>
                </c:pt>
                <c:pt idx="5">
                  <c:v>0.018589343088041478</c:v>
                </c:pt>
                <c:pt idx="6">
                  <c:v>0.005189080124893977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77040218574147</c:v>
                </c:pt>
                <c:pt idx="2">
                  <c:v>0.016803319258934645</c:v>
                </c:pt>
                <c:pt idx="3">
                  <c:v>0.033032782088499676</c:v>
                </c:pt>
                <c:pt idx="4">
                  <c:v>0.09814777225172511</c:v>
                </c:pt>
                <c:pt idx="5">
                  <c:v>0.018589343088041478</c:v>
                </c:pt>
                <c:pt idx="6">
                  <c:v>0.005189080124893977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77040218574147</c:v>
                </c:pt>
                <c:pt idx="2">
                  <c:v>0.016803319258934645</c:v>
                </c:pt>
                <c:pt idx="3">
                  <c:v>0.033032782088499676</c:v>
                </c:pt>
                <c:pt idx="4">
                  <c:v>0.09814777225172511</c:v>
                </c:pt>
                <c:pt idx="5">
                  <c:v>0.018589343088041478</c:v>
                </c:pt>
                <c:pt idx="6">
                  <c:v>0.005189080124893977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8965406986938915</c:v>
                </c:pt>
                <c:pt idx="1">
                  <c:v>0.04895259664109439</c:v>
                </c:pt>
                <c:pt idx="2">
                  <c:v>0.002253973688354901</c:v>
                </c:pt>
                <c:pt idx="3">
                  <c:v>0.4750172003568851</c:v>
                </c:pt>
                <c:pt idx="4">
                  <c:v>0.45597700238592087</c:v>
                </c:pt>
                <c:pt idx="5">
                  <c:v>0.01590268622905085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73546925599385</c:v>
                </c:pt>
                <c:pt idx="4">
                  <c:v>0.025019581296125446</c:v>
                </c:pt>
                <c:pt idx="5">
                  <c:v>0.47511897357370914</c:v>
                </c:pt>
                <c:pt idx="6">
                  <c:v>0.00215418832687153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8965406986938915</c:v>
                </c:pt>
                <c:pt idx="1">
                  <c:v>0.04895259664109439</c:v>
                </c:pt>
                <c:pt idx="2">
                  <c:v>0.002253973688354901</c:v>
                </c:pt>
                <c:pt idx="3">
                  <c:v>0.4750172003568851</c:v>
                </c:pt>
                <c:pt idx="4">
                  <c:v>0.45597700238592087</c:v>
                </c:pt>
                <c:pt idx="5">
                  <c:v>0.01590268622905085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73546925599385</c:v>
                </c:pt>
                <c:pt idx="4">
                  <c:v>0.025019581296125446</c:v>
                </c:pt>
                <c:pt idx="5">
                  <c:v>0.47511897357370914</c:v>
                </c:pt>
                <c:pt idx="6">
                  <c:v>0.00215418832687153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73546925599385</c:v>
                </c:pt>
                <c:pt idx="4">
                  <c:v>0.025019581296125446</c:v>
                </c:pt>
                <c:pt idx="5">
                  <c:v>0.47511897357370914</c:v>
                </c:pt>
                <c:pt idx="6">
                  <c:v>0.00215418832687153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857894799189422</c:v>
                </c:pt>
                <c:pt idx="1">
                  <c:v>0.03822197725080398</c:v>
                </c:pt>
                <c:pt idx="2">
                  <c:v>0.12804261363486494</c:v>
                </c:pt>
                <c:pt idx="3">
                  <c:v>0.2579541169363222</c:v>
                </c:pt>
                <c:pt idx="4">
                  <c:v>0.41149259607783306</c:v>
                </c:pt>
                <c:pt idx="5">
                  <c:v>0.1586641888200512</c:v>
                </c:pt>
                <c:pt idx="6">
                  <c:v>0.0007666124809351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3157157998459592</c:v>
                </c:pt>
                <c:pt idx="2">
                  <c:v>0.02811213896237358</c:v>
                </c:pt>
                <c:pt idx="3">
                  <c:v>0.018643180297931196</c:v>
                </c:pt>
                <c:pt idx="4">
                  <c:v>0.040948765656610694</c:v>
                </c:pt>
                <c:pt idx="5">
                  <c:v>0.0211218987937617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371567498881352</c:v>
                </c:pt>
                <c:pt idx="2">
                  <c:v>0.00672828214398474</c:v>
                </c:pt>
                <c:pt idx="3">
                  <c:v>0.004238791903029093</c:v>
                </c:pt>
                <c:pt idx="4">
                  <c:v>0.008257541390986695</c:v>
                </c:pt>
                <c:pt idx="5">
                  <c:v>0.001644706664806886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565794817638649</c:v>
                </c:pt>
                <c:pt idx="2">
                  <c:v>0.006196258441046238</c:v>
                </c:pt>
                <c:pt idx="3">
                  <c:v>0.04722795774645781</c:v>
                </c:pt>
                <c:pt idx="4">
                  <c:v>0.08317488361040942</c:v>
                </c:pt>
                <c:pt idx="5">
                  <c:v>0.00945475438329751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285239958034354</c:v>
                </c:pt>
                <c:pt idx="1">
                  <c:v>0.0018872041121585012</c:v>
                </c:pt>
                <c:pt idx="2">
                  <c:v>0.023571838927433305</c:v>
                </c:pt>
                <c:pt idx="3">
                  <c:v>0.027229967064526187</c:v>
                </c:pt>
                <c:pt idx="4">
                  <c:v>0.09128300647409082</c:v>
                </c:pt>
                <c:pt idx="5">
                  <c:v>0.0938000732839679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4579949143126</c:v>
                </c:pt>
                <c:pt idx="1">
                  <c:v>0.018231387073263737</c:v>
                </c:pt>
                <c:pt idx="2">
                  <c:v>0.058064126921412204</c:v>
                </c:pt>
                <c:pt idx="3">
                  <c:v>0.13037729789850053</c:v>
                </c:pt>
                <c:pt idx="4">
                  <c:v>0.05574933207670425</c:v>
                </c:pt>
                <c:pt idx="5">
                  <c:v>0.002828998746024868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7802694174851</c:v>
                </c:pt>
                <c:pt idx="3">
                  <c:v>0.0333366478533924</c:v>
                </c:pt>
                <c:pt idx="4">
                  <c:v>0.10721413041780124</c:v>
                </c:pt>
                <c:pt idx="5">
                  <c:v>0.02874918627888048</c:v>
                </c:pt>
                <c:pt idx="6">
                  <c:v>0.000723859920304396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857894799189422</c:v>
                </c:pt>
                <c:pt idx="1">
                  <c:v>0.03822197725080398</c:v>
                </c:pt>
                <c:pt idx="2">
                  <c:v>0.12804261363486494</c:v>
                </c:pt>
                <c:pt idx="3">
                  <c:v>0.2579541169363222</c:v>
                </c:pt>
                <c:pt idx="4">
                  <c:v>0.41149259607783306</c:v>
                </c:pt>
                <c:pt idx="5">
                  <c:v>0.1586641888200512</c:v>
                </c:pt>
                <c:pt idx="6">
                  <c:v>0.0007666124809351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1390660755141054</c:v>
                </c:pt>
                <c:pt idx="4">
                  <c:v>0.03312247784221662</c:v>
                </c:pt>
                <c:pt idx="5">
                  <c:v>0.002709277334118628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7802694174851</c:v>
                </c:pt>
                <c:pt idx="3">
                  <c:v>0.0333366478533924</c:v>
                </c:pt>
                <c:pt idx="4">
                  <c:v>0.10721413041780124</c:v>
                </c:pt>
                <c:pt idx="5">
                  <c:v>0.02874918627888048</c:v>
                </c:pt>
                <c:pt idx="6">
                  <c:v>0.000723859920304396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857894799189422</c:v>
                </c:pt>
                <c:pt idx="1">
                  <c:v>0.03822197725080398</c:v>
                </c:pt>
                <c:pt idx="2">
                  <c:v>0.12804261363486494</c:v>
                </c:pt>
                <c:pt idx="3">
                  <c:v>0.2579541169363222</c:v>
                </c:pt>
                <c:pt idx="4">
                  <c:v>0.41149259607783306</c:v>
                </c:pt>
                <c:pt idx="5">
                  <c:v>0.1586641888200512</c:v>
                </c:pt>
                <c:pt idx="6">
                  <c:v>0.0007666124809351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7802694174851</c:v>
                </c:pt>
                <c:pt idx="3">
                  <c:v>0.0333366478533924</c:v>
                </c:pt>
                <c:pt idx="4">
                  <c:v>0.10721413041780124</c:v>
                </c:pt>
                <c:pt idx="5">
                  <c:v>0.02874918627888048</c:v>
                </c:pt>
                <c:pt idx="6">
                  <c:v>0.000723859920304396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7802694174851</c:v>
                </c:pt>
                <c:pt idx="3">
                  <c:v>0.0333366478533924</c:v>
                </c:pt>
                <c:pt idx="4">
                  <c:v>0.10721413041780124</c:v>
                </c:pt>
                <c:pt idx="5">
                  <c:v>0.02874918627888048</c:v>
                </c:pt>
                <c:pt idx="6">
                  <c:v>0.000723859920304396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3177561024199167</c:v>
                </c:pt>
                <c:pt idx="1">
                  <c:v>0.032027653167575096</c:v>
                </c:pt>
                <c:pt idx="2">
                  <c:v>0.0023524044420734705</c:v>
                </c:pt>
                <c:pt idx="3">
                  <c:v>0.3824202615932843</c:v>
                </c:pt>
                <c:pt idx="4">
                  <c:v>0.5674749628622517</c:v>
                </c:pt>
                <c:pt idx="5">
                  <c:v>0.01440696183239552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3157157998459592</c:v>
                </c:pt>
                <c:pt idx="2">
                  <c:v>0.02811213896237358</c:v>
                </c:pt>
                <c:pt idx="3">
                  <c:v>0.018643180297931196</c:v>
                </c:pt>
                <c:pt idx="4">
                  <c:v>0.040948765656610694</c:v>
                </c:pt>
                <c:pt idx="5">
                  <c:v>0.0211218987937617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3177561024199167</c:v>
                </c:pt>
                <c:pt idx="1">
                  <c:v>0.032027653167575096</c:v>
                </c:pt>
                <c:pt idx="2">
                  <c:v>0.0023524044420734705</c:v>
                </c:pt>
                <c:pt idx="3">
                  <c:v>0.3824202615932843</c:v>
                </c:pt>
                <c:pt idx="4">
                  <c:v>0.5674749628622517</c:v>
                </c:pt>
                <c:pt idx="5">
                  <c:v>0.01440696183239552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385892535120031</c:v>
                </c:pt>
                <c:pt idx="3">
                  <c:v>0.0029915191407270925</c:v>
                </c:pt>
                <c:pt idx="4">
                  <c:v>0.010394175852981613</c:v>
                </c:pt>
                <c:pt idx="5">
                  <c:v>0.004833699611765867</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565794817638649</c:v>
                </c:pt>
                <c:pt idx="2">
                  <c:v>0.006196258441046238</c:v>
                </c:pt>
                <c:pt idx="3">
                  <c:v>0.04722795774645781</c:v>
                </c:pt>
                <c:pt idx="4">
                  <c:v>0.08317488361040942</c:v>
                </c:pt>
                <c:pt idx="5">
                  <c:v>0.00945475438329751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74049196231556</c:v>
                </c:pt>
                <c:pt idx="4">
                  <c:v>0.019066378237682903</c:v>
                </c:pt>
                <c:pt idx="5">
                  <c:v>0.48607296070889355</c:v>
                </c:pt>
                <c:pt idx="6">
                  <c:v>0.0074557414302679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06584089490517326</c:v>
                </c:pt>
                <c:pt idx="5">
                  <c:v>0.000658117345742279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74049196231556</c:v>
                </c:pt>
                <c:pt idx="4">
                  <c:v>0.019066378237682903</c:v>
                </c:pt>
                <c:pt idx="5">
                  <c:v>0.48607296070889355</c:v>
                </c:pt>
                <c:pt idx="6">
                  <c:v>0.0074557414302679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285239958034354</c:v>
                </c:pt>
                <c:pt idx="1">
                  <c:v>0.0018872041121585012</c:v>
                </c:pt>
                <c:pt idx="2">
                  <c:v>0.023571838927433305</c:v>
                </c:pt>
                <c:pt idx="3">
                  <c:v>0.027229967064526187</c:v>
                </c:pt>
                <c:pt idx="4">
                  <c:v>0.09128300647409082</c:v>
                </c:pt>
                <c:pt idx="5">
                  <c:v>0.0938000732839679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73416783754474</c:v>
                </c:pt>
                <c:pt idx="1">
                  <c:v>0.040453124052177075</c:v>
                </c:pt>
                <c:pt idx="2">
                  <c:v>0.12468065232928348</c:v>
                </c:pt>
                <c:pt idx="3">
                  <c:v>0.2406692975746519</c:v>
                </c:pt>
                <c:pt idx="4">
                  <c:v>0.42350166098658626</c:v>
                </c:pt>
                <c:pt idx="5">
                  <c:v>0.16609207976541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21537678476257045</c:v>
                </c:pt>
                <c:pt idx="2">
                  <c:v>0.027438323617953765</c:v>
                </c:pt>
                <c:pt idx="3">
                  <c:v>0.016133393416279708</c:v>
                </c:pt>
                <c:pt idx="4">
                  <c:v>0.03366422150381689</c:v>
                </c:pt>
                <c:pt idx="5">
                  <c:v>0.02750379950698168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7543291482773286</c:v>
                </c:pt>
                <c:pt idx="2">
                  <c:v>0.008665182825658672</c:v>
                </c:pt>
                <c:pt idx="3">
                  <c:v>0.001076612885380411</c:v>
                </c:pt>
                <c:pt idx="4">
                  <c:v>0.010776193913363263</c:v>
                </c:pt>
                <c:pt idx="5">
                  <c:v>0.002279516032290979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060293469893772</c:v>
                </c:pt>
                <c:pt idx="2">
                  <c:v>0.006767117445120051</c:v>
                </c:pt>
                <c:pt idx="3">
                  <c:v>0.038649494795227314</c:v>
                </c:pt>
                <c:pt idx="4">
                  <c:v>0.08806839263622435</c:v>
                </c:pt>
                <c:pt idx="5">
                  <c:v>0.00874750404146062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1061428902955416</c:v>
                </c:pt>
                <c:pt idx="2">
                  <c:v>0.023389164467816866</c:v>
                </c:pt>
                <c:pt idx="3">
                  <c:v>0.029075836990662737</c:v>
                </c:pt>
                <c:pt idx="4">
                  <c:v>0.1122085303314333</c:v>
                </c:pt>
                <c:pt idx="5">
                  <c:v>0.0873072470204389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218282918329833</c:v>
                </c:pt>
                <c:pt idx="1">
                  <c:v>0.01198652660068302</c:v>
                </c:pt>
                <c:pt idx="2">
                  <c:v>0.051156208478813595</c:v>
                </c:pt>
                <c:pt idx="3">
                  <c:v>0.12988043355866824</c:v>
                </c:pt>
                <c:pt idx="4">
                  <c:v>0.06040954934053586</c:v>
                </c:pt>
                <c:pt idx="5">
                  <c:v>0.003614450870835684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73416783754474</c:v>
                </c:pt>
                <c:pt idx="1">
                  <c:v>0.040453124052177075</c:v>
                </c:pt>
                <c:pt idx="2">
                  <c:v>0.12468065232928348</c:v>
                </c:pt>
                <c:pt idx="3">
                  <c:v>0.2406692975746519</c:v>
                </c:pt>
                <c:pt idx="4">
                  <c:v>0.42350166098658626</c:v>
                </c:pt>
                <c:pt idx="5">
                  <c:v>0.16609207976541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400150779786381</c:v>
                </c:pt>
                <c:pt idx="4">
                  <c:v>0.028798751042182855</c:v>
                </c:pt>
                <c:pt idx="5">
                  <c:v>0.0042842079719034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4579949143126</c:v>
                </c:pt>
                <c:pt idx="1">
                  <c:v>0.018231387073263737</c:v>
                </c:pt>
                <c:pt idx="2">
                  <c:v>0.058064126921412204</c:v>
                </c:pt>
                <c:pt idx="3">
                  <c:v>0.13037729789850053</c:v>
                </c:pt>
                <c:pt idx="4">
                  <c:v>0.05574933207670425</c:v>
                </c:pt>
                <c:pt idx="5">
                  <c:v>0.002828998746024868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133835699403206</c:v>
                </c:pt>
                <c:pt idx="1">
                  <c:v>0.019618191826917</c:v>
                </c:pt>
                <c:pt idx="2">
                  <c:v>0.0007402755160323117</c:v>
                </c:pt>
                <c:pt idx="3">
                  <c:v>0.32972950609608237</c:v>
                </c:pt>
                <c:pt idx="4">
                  <c:v>0.6455594961322716</c:v>
                </c:pt>
                <c:pt idx="5">
                  <c:v>0.00363914685875637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7802694174851</c:v>
                </c:pt>
                <c:pt idx="3">
                  <c:v>0.0333366478533924</c:v>
                </c:pt>
                <c:pt idx="4">
                  <c:v>0.10721413041780124</c:v>
                </c:pt>
                <c:pt idx="5">
                  <c:v>0.02874918627888048</c:v>
                </c:pt>
                <c:pt idx="6">
                  <c:v>0.000723859920304396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133835699403206</c:v>
                </c:pt>
                <c:pt idx="1">
                  <c:v>0.019618191826917</c:v>
                </c:pt>
                <c:pt idx="2">
                  <c:v>0.0007402755160323117</c:v>
                </c:pt>
                <c:pt idx="3">
                  <c:v>0.32972950609608237</c:v>
                </c:pt>
                <c:pt idx="4">
                  <c:v>0.6455594961322716</c:v>
                </c:pt>
                <c:pt idx="5">
                  <c:v>0.00363914685875637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515530148115709</c:v>
                </c:pt>
                <c:pt idx="4">
                  <c:v>0.03188640169921914</c:v>
                </c:pt>
                <c:pt idx="5">
                  <c:v>0.452583450185071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515530148115709</c:v>
                </c:pt>
                <c:pt idx="4">
                  <c:v>0.03188640169921914</c:v>
                </c:pt>
                <c:pt idx="5">
                  <c:v>0.452583450185071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857894799189422</c:v>
                </c:pt>
                <c:pt idx="1">
                  <c:v>0.03822197725080398</c:v>
                </c:pt>
                <c:pt idx="2">
                  <c:v>0.12804261363486494</c:v>
                </c:pt>
                <c:pt idx="3">
                  <c:v>0.2579541169363222</c:v>
                </c:pt>
                <c:pt idx="4">
                  <c:v>0.41149259607783306</c:v>
                </c:pt>
                <c:pt idx="5">
                  <c:v>0.1586641888200512</c:v>
                </c:pt>
                <c:pt idx="6">
                  <c:v>0.0007666124809351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3167420955609284</c:v>
                </c:pt>
                <c:pt idx="2">
                  <c:v>0.02593075178581744</c:v>
                </c:pt>
                <c:pt idx="3">
                  <c:v>0.025559071321435884</c:v>
                </c:pt>
                <c:pt idx="4">
                  <c:v>0.043968273662884055</c:v>
                </c:pt>
                <c:pt idx="5">
                  <c:v>0.02429450809942457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3167420955609284</c:v>
                </c:pt>
                <c:pt idx="2">
                  <c:v>0.008577681317414165</c:v>
                </c:pt>
                <c:pt idx="3">
                  <c:v>0.0036944762042968125</c:v>
                </c:pt>
                <c:pt idx="4">
                  <c:v>0.01312996370238396</c:v>
                </c:pt>
                <c:pt idx="5">
                  <c:v>0.00080066820486395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4427815498280353</c:v>
                </c:pt>
                <c:pt idx="2">
                  <c:v>0.011305285300462193</c:v>
                </c:pt>
                <c:pt idx="3">
                  <c:v>0.05126922482700534</c:v>
                </c:pt>
                <c:pt idx="4">
                  <c:v>0.09102953624585117</c:v>
                </c:pt>
                <c:pt idx="5">
                  <c:v>0.00975764849979180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1390660755141054</c:v>
                </c:pt>
                <c:pt idx="4">
                  <c:v>0.03312247784221662</c:v>
                </c:pt>
                <c:pt idx="5">
                  <c:v>0.002709277334118628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9169833645341264</c:v>
                </c:pt>
                <c:pt idx="3">
                  <c:v>0.02487907233591116</c:v>
                </c:pt>
                <c:pt idx="4">
                  <c:v>0.08289682322017662</c:v>
                </c:pt>
                <c:pt idx="5">
                  <c:v>0.085062873843515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079323119211685</c:v>
                </c:pt>
                <c:pt idx="1">
                  <c:v>0.01990056861213466</c:v>
                </c:pt>
                <c:pt idx="2">
                  <c:v>0.06444620339496548</c:v>
                </c:pt>
                <c:pt idx="3">
                  <c:v>0.1290805290853337</c:v>
                </c:pt>
                <c:pt idx="4">
                  <c:v>0.0551660497873097</c:v>
                </c:pt>
                <c:pt idx="5">
                  <c:v>0.00412038861370503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77040218574147</c:v>
                </c:pt>
                <c:pt idx="2">
                  <c:v>0.016803319258934645</c:v>
                </c:pt>
                <c:pt idx="3">
                  <c:v>0.033032782088499676</c:v>
                </c:pt>
                <c:pt idx="4">
                  <c:v>0.09814777225172511</c:v>
                </c:pt>
                <c:pt idx="5">
                  <c:v>0.018589343088041478</c:v>
                </c:pt>
                <c:pt idx="6">
                  <c:v>0.005189080124893977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5865898307008078</c:v>
                </c:pt>
                <c:pt idx="4">
                  <c:v>0.03164931246462071</c:v>
                </c:pt>
                <c:pt idx="5">
                  <c:v>0.003424793056966408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77040218574147</c:v>
                </c:pt>
                <c:pt idx="2">
                  <c:v>0.016803319258934645</c:v>
                </c:pt>
                <c:pt idx="3">
                  <c:v>0.033032782088499676</c:v>
                </c:pt>
                <c:pt idx="4">
                  <c:v>0.09814777225172511</c:v>
                </c:pt>
                <c:pt idx="5">
                  <c:v>0.018589343088041478</c:v>
                </c:pt>
                <c:pt idx="6">
                  <c:v>0.005189080124893977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77040218574147</c:v>
                </c:pt>
                <c:pt idx="2">
                  <c:v>0.016803319258934645</c:v>
                </c:pt>
                <c:pt idx="3">
                  <c:v>0.033032782088499676</c:v>
                </c:pt>
                <c:pt idx="4">
                  <c:v>0.09814777225172511</c:v>
                </c:pt>
                <c:pt idx="5">
                  <c:v>0.018589343088041478</c:v>
                </c:pt>
                <c:pt idx="6">
                  <c:v>0.005189080124893977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77040218574147</c:v>
                </c:pt>
                <c:pt idx="2">
                  <c:v>0.016803319258934645</c:v>
                </c:pt>
                <c:pt idx="3">
                  <c:v>0.033032782088499676</c:v>
                </c:pt>
                <c:pt idx="4">
                  <c:v>0.09814777225172511</c:v>
                </c:pt>
                <c:pt idx="5">
                  <c:v>0.018589343088041478</c:v>
                </c:pt>
                <c:pt idx="6">
                  <c:v>0.005189080124893977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8965406986938915</c:v>
                </c:pt>
                <c:pt idx="1">
                  <c:v>0.04895259664109439</c:v>
                </c:pt>
                <c:pt idx="2">
                  <c:v>0.002253973688354901</c:v>
                </c:pt>
                <c:pt idx="3">
                  <c:v>0.4750172003568851</c:v>
                </c:pt>
                <c:pt idx="4">
                  <c:v>0.45597700238592087</c:v>
                </c:pt>
                <c:pt idx="5">
                  <c:v>0.01590268622905085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8965406986938915</c:v>
                </c:pt>
                <c:pt idx="1">
                  <c:v>0.04895259664109439</c:v>
                </c:pt>
                <c:pt idx="2">
                  <c:v>0.002253973688354901</c:v>
                </c:pt>
                <c:pt idx="3">
                  <c:v>0.4750172003568851</c:v>
                </c:pt>
                <c:pt idx="4">
                  <c:v>0.45597700238592087</c:v>
                </c:pt>
                <c:pt idx="5">
                  <c:v>0.01590268622905085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7802694174851</c:v>
                </c:pt>
                <c:pt idx="3">
                  <c:v>0.0333366478533924</c:v>
                </c:pt>
                <c:pt idx="4">
                  <c:v>0.10721413041780124</c:v>
                </c:pt>
                <c:pt idx="5">
                  <c:v>0.02874918627888048</c:v>
                </c:pt>
                <c:pt idx="6">
                  <c:v>0.000723859920304396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73546925599385</c:v>
                </c:pt>
                <c:pt idx="4">
                  <c:v>0.025019581296125446</c:v>
                </c:pt>
                <c:pt idx="5">
                  <c:v>0.47511897357370914</c:v>
                </c:pt>
                <c:pt idx="6">
                  <c:v>0.00215418832687153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73546925599385</c:v>
                </c:pt>
                <c:pt idx="4">
                  <c:v>0.025019581296125446</c:v>
                </c:pt>
                <c:pt idx="5">
                  <c:v>0.47511897357370914</c:v>
                </c:pt>
                <c:pt idx="6">
                  <c:v>0.00215418832687153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7802694174851</c:v>
                </c:pt>
                <c:pt idx="3">
                  <c:v>0.0333366478533924</c:v>
                </c:pt>
                <c:pt idx="4">
                  <c:v>0.10721413041780124</c:v>
                </c:pt>
                <c:pt idx="5">
                  <c:v>0.02874918627888048</c:v>
                </c:pt>
                <c:pt idx="6">
                  <c:v>0.000723859920304396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857894799189422</c:v>
                </c:pt>
                <c:pt idx="1">
                  <c:v>0.03822197725080398</c:v>
                </c:pt>
                <c:pt idx="2">
                  <c:v>0.12804261363486494</c:v>
                </c:pt>
                <c:pt idx="3">
                  <c:v>0.2579541169363222</c:v>
                </c:pt>
                <c:pt idx="4">
                  <c:v>0.41149259607783306</c:v>
                </c:pt>
                <c:pt idx="5">
                  <c:v>0.1586641888200512</c:v>
                </c:pt>
                <c:pt idx="6">
                  <c:v>0.0007666124809351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3157157998459592</c:v>
                </c:pt>
                <c:pt idx="2">
                  <c:v>0.02811213896237358</c:v>
                </c:pt>
                <c:pt idx="3">
                  <c:v>0.018643180297931196</c:v>
                </c:pt>
                <c:pt idx="4">
                  <c:v>0.040948765656610694</c:v>
                </c:pt>
                <c:pt idx="5">
                  <c:v>0.0211218987937617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565794817638649</c:v>
                </c:pt>
                <c:pt idx="2">
                  <c:v>0.006196258441046238</c:v>
                </c:pt>
                <c:pt idx="3">
                  <c:v>0.04722795774645781</c:v>
                </c:pt>
                <c:pt idx="4">
                  <c:v>0.08317488361040942</c:v>
                </c:pt>
                <c:pt idx="5">
                  <c:v>0.00945475438329751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0290960806405704</c:v>
                </c:pt>
                <c:pt idx="4">
                  <c:v>0.01030526546308852</c:v>
                </c:pt>
                <c:pt idx="5">
                  <c:v>0.0024161515579274916</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285239958034354</c:v>
                </c:pt>
                <c:pt idx="1">
                  <c:v>0.0018872041121585012</c:v>
                </c:pt>
                <c:pt idx="2">
                  <c:v>0.023571838927433305</c:v>
                </c:pt>
                <c:pt idx="3">
                  <c:v>0.027229967064526187</c:v>
                </c:pt>
                <c:pt idx="4">
                  <c:v>0.09128300647409082</c:v>
                </c:pt>
                <c:pt idx="5">
                  <c:v>0.0938000732839679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2674957833029067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4579949143126</c:v>
                </c:pt>
                <c:pt idx="1">
                  <c:v>0.018231387073263737</c:v>
                </c:pt>
                <c:pt idx="2">
                  <c:v>0.058064126921412204</c:v>
                </c:pt>
                <c:pt idx="3">
                  <c:v>0.13037729789850053</c:v>
                </c:pt>
                <c:pt idx="4">
                  <c:v>0.05574933207670425</c:v>
                </c:pt>
                <c:pt idx="5">
                  <c:v>0.002828998746024868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7802694174851</c:v>
                </c:pt>
                <c:pt idx="3">
                  <c:v>0.0333366478533924</c:v>
                </c:pt>
                <c:pt idx="4">
                  <c:v>0.10721413041780124</c:v>
                </c:pt>
                <c:pt idx="5">
                  <c:v>0.02874918627888048</c:v>
                </c:pt>
                <c:pt idx="6">
                  <c:v>0.000723859920304396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7802694174851</c:v>
                </c:pt>
                <c:pt idx="3">
                  <c:v>0.0333366478533924</c:v>
                </c:pt>
                <c:pt idx="4">
                  <c:v>0.10721413041780124</c:v>
                </c:pt>
                <c:pt idx="5">
                  <c:v>0.02874918627888048</c:v>
                </c:pt>
                <c:pt idx="6">
                  <c:v>0.000723859920304396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857894799189422</c:v>
                </c:pt>
                <c:pt idx="1">
                  <c:v>0.03822197725080398</c:v>
                </c:pt>
                <c:pt idx="2">
                  <c:v>0.12804261363486494</c:v>
                </c:pt>
                <c:pt idx="3">
                  <c:v>0.2579541169363222</c:v>
                </c:pt>
                <c:pt idx="4">
                  <c:v>0.41149259607783306</c:v>
                </c:pt>
                <c:pt idx="5">
                  <c:v>0.1586641888200512</c:v>
                </c:pt>
                <c:pt idx="6">
                  <c:v>0.0007666124809351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1390660755141054</c:v>
                </c:pt>
                <c:pt idx="4">
                  <c:v>0.03312247784221662</c:v>
                </c:pt>
                <c:pt idx="5">
                  <c:v>0.002709277334118628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7802694174851</c:v>
                </c:pt>
                <c:pt idx="3">
                  <c:v>0.0333366478533924</c:v>
                </c:pt>
                <c:pt idx="4">
                  <c:v>0.10721413041780124</c:v>
                </c:pt>
                <c:pt idx="5">
                  <c:v>0.02874918627888048</c:v>
                </c:pt>
                <c:pt idx="6">
                  <c:v>0.000723859920304396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7802694174851</c:v>
                </c:pt>
                <c:pt idx="3">
                  <c:v>0.0333366478533924</c:v>
                </c:pt>
                <c:pt idx="4">
                  <c:v>0.10721413041780124</c:v>
                </c:pt>
                <c:pt idx="5">
                  <c:v>0.02874918627888048</c:v>
                </c:pt>
                <c:pt idx="6">
                  <c:v>0.000723859920304396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7802694174851</c:v>
                </c:pt>
                <c:pt idx="3">
                  <c:v>0.0333366478533924</c:v>
                </c:pt>
                <c:pt idx="4">
                  <c:v>0.10721413041780124</c:v>
                </c:pt>
                <c:pt idx="5">
                  <c:v>0.02874918627888048</c:v>
                </c:pt>
                <c:pt idx="6">
                  <c:v>0.000723859920304396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3177561024199167</c:v>
                </c:pt>
                <c:pt idx="1">
                  <c:v>0.032027653167575096</c:v>
                </c:pt>
                <c:pt idx="2">
                  <c:v>0.0023524044420734705</c:v>
                </c:pt>
                <c:pt idx="3">
                  <c:v>0.3824202615932843</c:v>
                </c:pt>
                <c:pt idx="4">
                  <c:v>0.5674749628622517</c:v>
                </c:pt>
                <c:pt idx="5">
                  <c:v>0.01440696183239552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3177561024199167</c:v>
                </c:pt>
                <c:pt idx="1">
                  <c:v>0.032027653167575096</c:v>
                </c:pt>
                <c:pt idx="2">
                  <c:v>0.0023524044420734705</c:v>
                </c:pt>
                <c:pt idx="3">
                  <c:v>0.3824202615932843</c:v>
                </c:pt>
                <c:pt idx="4">
                  <c:v>0.5674749628622517</c:v>
                </c:pt>
                <c:pt idx="5">
                  <c:v>0.01440696183239552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3177561024199167</c:v>
                </c:pt>
                <c:pt idx="1">
                  <c:v>0.032027653167575096</c:v>
                </c:pt>
                <c:pt idx="2">
                  <c:v>0.0023524044420734705</c:v>
                </c:pt>
                <c:pt idx="3">
                  <c:v>0.3824202615932843</c:v>
                </c:pt>
                <c:pt idx="4">
                  <c:v>0.5674749628622517</c:v>
                </c:pt>
                <c:pt idx="5">
                  <c:v>0.01440696183239552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74049196231556</c:v>
                </c:pt>
                <c:pt idx="4">
                  <c:v>0.019066378237682903</c:v>
                </c:pt>
                <c:pt idx="5">
                  <c:v>0.48607296070889355</c:v>
                </c:pt>
                <c:pt idx="6">
                  <c:v>0.0074557414302679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74049196231556</c:v>
                </c:pt>
                <c:pt idx="4">
                  <c:v>0.019066378237682903</c:v>
                </c:pt>
                <c:pt idx="5">
                  <c:v>0.48607296070889355</c:v>
                </c:pt>
                <c:pt idx="6">
                  <c:v>0.0074557414302679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73416783754474</c:v>
                </c:pt>
                <c:pt idx="1">
                  <c:v>0.040453124052177075</c:v>
                </c:pt>
                <c:pt idx="2">
                  <c:v>0.12468065232928348</c:v>
                </c:pt>
                <c:pt idx="3">
                  <c:v>0.2406692975746519</c:v>
                </c:pt>
                <c:pt idx="4">
                  <c:v>0.42350166098658626</c:v>
                </c:pt>
                <c:pt idx="5">
                  <c:v>0.16609207976541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21537678476257045</c:v>
                </c:pt>
                <c:pt idx="2">
                  <c:v>0.027438323617953765</c:v>
                </c:pt>
                <c:pt idx="3">
                  <c:v>0.016133393416279708</c:v>
                </c:pt>
                <c:pt idx="4">
                  <c:v>0.03366422150381689</c:v>
                </c:pt>
                <c:pt idx="5">
                  <c:v>0.02750379950698168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060293469893772</c:v>
                </c:pt>
                <c:pt idx="2">
                  <c:v>0.006767117445120051</c:v>
                </c:pt>
                <c:pt idx="3">
                  <c:v>0.038649494795227314</c:v>
                </c:pt>
                <c:pt idx="4">
                  <c:v>0.08806839263622435</c:v>
                </c:pt>
                <c:pt idx="5">
                  <c:v>0.00874750404146062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027397924249747</c:v>
                </c:pt>
                <c:pt idx="4">
                  <c:v>0.010885058477386517</c:v>
                </c:pt>
                <c:pt idx="5">
                  <c:v>0.00226461189986320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1061428902955416</c:v>
                </c:pt>
                <c:pt idx="2">
                  <c:v>0.023389164467816866</c:v>
                </c:pt>
                <c:pt idx="3">
                  <c:v>0.029075836990662737</c:v>
                </c:pt>
                <c:pt idx="4">
                  <c:v>0.1122085303314333</c:v>
                </c:pt>
                <c:pt idx="5">
                  <c:v>0.0873072470204389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423594444776148</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218282918329833</c:v>
                </c:pt>
                <c:pt idx="1">
                  <c:v>0.01198652660068302</c:v>
                </c:pt>
                <c:pt idx="2">
                  <c:v>0.051156208478813595</c:v>
                </c:pt>
                <c:pt idx="3">
                  <c:v>0.12988043355866824</c:v>
                </c:pt>
                <c:pt idx="4">
                  <c:v>0.06040954934053586</c:v>
                </c:pt>
                <c:pt idx="5">
                  <c:v>0.003614450870835684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73416783754474</c:v>
                </c:pt>
                <c:pt idx="1">
                  <c:v>0.040453124052177075</c:v>
                </c:pt>
                <c:pt idx="2">
                  <c:v>0.12468065232928348</c:v>
                </c:pt>
                <c:pt idx="3">
                  <c:v>0.2406692975746519</c:v>
                </c:pt>
                <c:pt idx="4">
                  <c:v>0.42350166098658626</c:v>
                </c:pt>
                <c:pt idx="5">
                  <c:v>0.16609207976541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400150779786381</c:v>
                </c:pt>
                <c:pt idx="4">
                  <c:v>0.028798751042182855</c:v>
                </c:pt>
                <c:pt idx="5">
                  <c:v>0.0042842079719034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133835699403206</c:v>
                </c:pt>
                <c:pt idx="1">
                  <c:v>0.019618191826917</c:v>
                </c:pt>
                <c:pt idx="2">
                  <c:v>0.0007402755160323117</c:v>
                </c:pt>
                <c:pt idx="3">
                  <c:v>0.32972950609608237</c:v>
                </c:pt>
                <c:pt idx="4">
                  <c:v>0.6455594961322716</c:v>
                </c:pt>
                <c:pt idx="5">
                  <c:v>0.00363914685875637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133835699403206</c:v>
                </c:pt>
                <c:pt idx="1">
                  <c:v>0.019618191826917</c:v>
                </c:pt>
                <c:pt idx="2">
                  <c:v>0.0007402755160323117</c:v>
                </c:pt>
                <c:pt idx="3">
                  <c:v>0.32972950609608237</c:v>
                </c:pt>
                <c:pt idx="4">
                  <c:v>0.6455594961322716</c:v>
                </c:pt>
                <c:pt idx="5">
                  <c:v>0.00363914685875637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515530148115709</c:v>
                </c:pt>
                <c:pt idx="4">
                  <c:v>0.03188640169921914</c:v>
                </c:pt>
                <c:pt idx="5">
                  <c:v>0.452583450185071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515530148115709</c:v>
                </c:pt>
                <c:pt idx="4">
                  <c:v>0.03188640169921914</c:v>
                </c:pt>
                <c:pt idx="5">
                  <c:v>0.452583450185071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3167420955609284</c:v>
                </c:pt>
                <c:pt idx="2">
                  <c:v>0.02593075178581744</c:v>
                </c:pt>
                <c:pt idx="3">
                  <c:v>0.025559071321435884</c:v>
                </c:pt>
                <c:pt idx="4">
                  <c:v>0.043968273662884055</c:v>
                </c:pt>
                <c:pt idx="5">
                  <c:v>0.02429450809942457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4427815498280353</c:v>
                </c:pt>
                <c:pt idx="2">
                  <c:v>0.011305285300462193</c:v>
                </c:pt>
                <c:pt idx="3">
                  <c:v>0.05126922482700534</c:v>
                </c:pt>
                <c:pt idx="4">
                  <c:v>0.09102953624585117</c:v>
                </c:pt>
                <c:pt idx="5">
                  <c:v>0.00975764849979180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03830958769038</c:v>
                </c:pt>
                <c:pt idx="4">
                  <c:v>0.014303879708351728</c:v>
                </c:pt>
                <c:pt idx="5">
                  <c:v>0.0041060364869042396</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9169833645341264</c:v>
                </c:pt>
                <c:pt idx="3">
                  <c:v>0.02487907233591116</c:v>
                </c:pt>
                <c:pt idx="4">
                  <c:v>0.08289682322017662</c:v>
                </c:pt>
                <c:pt idx="5">
                  <c:v>0.085062873843515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31317377425449868</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079323119211685</c:v>
                </c:pt>
                <c:pt idx="1">
                  <c:v>0.01990056861213466</c:v>
                </c:pt>
                <c:pt idx="2">
                  <c:v>0.06444620339496548</c:v>
                </c:pt>
                <c:pt idx="3">
                  <c:v>0.1290805290853337</c:v>
                </c:pt>
                <c:pt idx="4">
                  <c:v>0.0551660497873097</c:v>
                </c:pt>
                <c:pt idx="5">
                  <c:v>0.00412038861370503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77040218574147</c:v>
                </c:pt>
                <c:pt idx="2">
                  <c:v>0.016803319258934645</c:v>
                </c:pt>
                <c:pt idx="3">
                  <c:v>0.033032782088499676</c:v>
                </c:pt>
                <c:pt idx="4">
                  <c:v>0.09814777225172511</c:v>
                </c:pt>
                <c:pt idx="5">
                  <c:v>0.018589343088041478</c:v>
                </c:pt>
                <c:pt idx="6">
                  <c:v>0.005189080124893977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5865898307008078</c:v>
                </c:pt>
                <c:pt idx="4">
                  <c:v>0.03164931246462071</c:v>
                </c:pt>
                <c:pt idx="5">
                  <c:v>0.003424793056966408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77040218574147</c:v>
                </c:pt>
                <c:pt idx="2">
                  <c:v>0.016803319258934645</c:v>
                </c:pt>
                <c:pt idx="3">
                  <c:v>0.033032782088499676</c:v>
                </c:pt>
                <c:pt idx="4">
                  <c:v>0.09814777225172511</c:v>
                </c:pt>
                <c:pt idx="5">
                  <c:v>0.018589343088041478</c:v>
                </c:pt>
                <c:pt idx="6">
                  <c:v>0.005189080124893977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3177561024199167</c:v>
                </c:pt>
                <c:pt idx="1">
                  <c:v>0.032027653167575096</c:v>
                </c:pt>
                <c:pt idx="2">
                  <c:v>0.0023524044420734705</c:v>
                </c:pt>
                <c:pt idx="3">
                  <c:v>0.3824202615932843</c:v>
                </c:pt>
                <c:pt idx="4">
                  <c:v>0.5674749628622517</c:v>
                </c:pt>
                <c:pt idx="5">
                  <c:v>0.01440696183239552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77040218574147</c:v>
                </c:pt>
                <c:pt idx="2">
                  <c:v>0.016803319258934645</c:v>
                </c:pt>
                <c:pt idx="3">
                  <c:v>0.033032782088499676</c:v>
                </c:pt>
                <c:pt idx="4">
                  <c:v>0.09814777225172511</c:v>
                </c:pt>
                <c:pt idx="5">
                  <c:v>0.018589343088041478</c:v>
                </c:pt>
                <c:pt idx="6">
                  <c:v>0.005189080124893977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77040218574147</c:v>
                </c:pt>
                <c:pt idx="2">
                  <c:v>0.016803319258934645</c:v>
                </c:pt>
                <c:pt idx="3">
                  <c:v>0.033032782088499676</c:v>
                </c:pt>
                <c:pt idx="4">
                  <c:v>0.09814777225172511</c:v>
                </c:pt>
                <c:pt idx="5">
                  <c:v>0.018589343088041478</c:v>
                </c:pt>
                <c:pt idx="6">
                  <c:v>0.005189080124893977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8965406986938915</c:v>
                </c:pt>
                <c:pt idx="1">
                  <c:v>0.04895259664109439</c:v>
                </c:pt>
                <c:pt idx="2">
                  <c:v>0.002253973688354901</c:v>
                </c:pt>
                <c:pt idx="3">
                  <c:v>0.4750172003568851</c:v>
                </c:pt>
                <c:pt idx="4">
                  <c:v>0.45597700238592087</c:v>
                </c:pt>
                <c:pt idx="5">
                  <c:v>0.01590268622905085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8965406986938915</c:v>
                </c:pt>
                <c:pt idx="1">
                  <c:v>0.04895259664109439</c:v>
                </c:pt>
                <c:pt idx="2">
                  <c:v>0.002253973688354901</c:v>
                </c:pt>
                <c:pt idx="3">
                  <c:v>0.4750172003568851</c:v>
                </c:pt>
                <c:pt idx="4">
                  <c:v>0.45597700238592087</c:v>
                </c:pt>
                <c:pt idx="5">
                  <c:v>0.01590268622905085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74049196231556</c:v>
                </c:pt>
                <c:pt idx="4">
                  <c:v>0.019066378237682903</c:v>
                </c:pt>
                <c:pt idx="5">
                  <c:v>0.48607296070889355</c:v>
                </c:pt>
                <c:pt idx="6">
                  <c:v>0.0074557414302679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74049196231556</c:v>
                </c:pt>
                <c:pt idx="4">
                  <c:v>0.019066378237682903</c:v>
                </c:pt>
                <c:pt idx="5">
                  <c:v>0.48607296070889355</c:v>
                </c:pt>
                <c:pt idx="6">
                  <c:v>0.0074557414302679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73416783754474</c:v>
                </c:pt>
                <c:pt idx="1">
                  <c:v>0.040453124052177075</c:v>
                </c:pt>
                <c:pt idx="2">
                  <c:v>0.12468065232928348</c:v>
                </c:pt>
                <c:pt idx="3">
                  <c:v>0.2406692975746519</c:v>
                </c:pt>
                <c:pt idx="4">
                  <c:v>0.42350166098658626</c:v>
                </c:pt>
                <c:pt idx="5">
                  <c:v>0.16609207976541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21537678476257045</c:v>
                </c:pt>
                <c:pt idx="2">
                  <c:v>0.027438323617953765</c:v>
                </c:pt>
                <c:pt idx="3">
                  <c:v>0.016133393416279708</c:v>
                </c:pt>
                <c:pt idx="4">
                  <c:v>0.03366422150381689</c:v>
                </c:pt>
                <c:pt idx="5">
                  <c:v>0.02750379950698168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 Id="rId8" Type="http://schemas.openxmlformats.org/officeDocument/2006/relationships/chart" Target="../charts/chart435.xml"/><Relationship Id="rId9" Type="http://schemas.openxmlformats.org/officeDocument/2006/relationships/chart" Target="../charts/chart436.xml"/><Relationship Id="rId10" Type="http://schemas.openxmlformats.org/officeDocument/2006/relationships/chart" Target="../charts/chart437.xml"/><Relationship Id="rId11" Type="http://schemas.openxmlformats.org/officeDocument/2006/relationships/chart" Target="../charts/chart438.xml"/><Relationship Id="rId12" Type="http://schemas.openxmlformats.org/officeDocument/2006/relationships/chart" Target="../charts/chart439.xml"/><Relationship Id="rId13" Type="http://schemas.openxmlformats.org/officeDocument/2006/relationships/chart" Target="../charts/chart440.xml"/><Relationship Id="rId14" Type="http://schemas.openxmlformats.org/officeDocument/2006/relationships/chart" Target="../charts/chart441.xml"/><Relationship Id="rId15" Type="http://schemas.openxmlformats.org/officeDocument/2006/relationships/chart" Target="../charts/chart442.xml"/><Relationship Id="rId16" Type="http://schemas.openxmlformats.org/officeDocument/2006/relationships/chart" Target="../charts/chart443.xml"/><Relationship Id="rId17" Type="http://schemas.openxmlformats.org/officeDocument/2006/relationships/chart" Target="../charts/chart44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5.xml"/><Relationship Id="rId7" Type="http://schemas.openxmlformats.org/officeDocument/2006/relationships/chart" Target="../charts/chart446.xml"/><Relationship Id="rId8" Type="http://schemas.openxmlformats.org/officeDocument/2006/relationships/chart" Target="../charts/chart447.xml"/><Relationship Id="rId9" Type="http://schemas.openxmlformats.org/officeDocument/2006/relationships/chart" Target="../charts/chart448.xml"/><Relationship Id="rId10" Type="http://schemas.openxmlformats.org/officeDocument/2006/relationships/chart" Target="../charts/chart449.xml"/><Relationship Id="rId11" Type="http://schemas.openxmlformats.org/officeDocument/2006/relationships/chart" Target="../charts/chart450.xml"/><Relationship Id="rId12" Type="http://schemas.openxmlformats.org/officeDocument/2006/relationships/chart" Target="../charts/chart451.xml"/><Relationship Id="rId13" Type="http://schemas.openxmlformats.org/officeDocument/2006/relationships/chart" Target="../charts/chart452.xml"/><Relationship Id="rId14" Type="http://schemas.openxmlformats.org/officeDocument/2006/relationships/chart" Target="../charts/chart453.xml"/><Relationship Id="rId15" Type="http://schemas.openxmlformats.org/officeDocument/2006/relationships/chart" Target="../charts/chart454.xml"/><Relationship Id="rId16" Type="http://schemas.openxmlformats.org/officeDocument/2006/relationships/chart" Target="../charts/chart455.xml"/><Relationship Id="rId17" Type="http://schemas.openxmlformats.org/officeDocument/2006/relationships/chart" Target="../charts/chart45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 Id="rId8" Type="http://schemas.openxmlformats.org/officeDocument/2006/relationships/chart" Target="../charts/chart459.xml"/><Relationship Id="rId9" Type="http://schemas.openxmlformats.org/officeDocument/2006/relationships/chart" Target="../charts/chart460.xml"/><Relationship Id="rId10" Type="http://schemas.openxmlformats.org/officeDocument/2006/relationships/chart" Target="../charts/chart461.xml"/><Relationship Id="rId11" Type="http://schemas.openxmlformats.org/officeDocument/2006/relationships/chart" Target="../charts/chart462.xml"/><Relationship Id="rId12" Type="http://schemas.openxmlformats.org/officeDocument/2006/relationships/chart" Target="../charts/chart463.xml"/><Relationship Id="rId13" Type="http://schemas.openxmlformats.org/officeDocument/2006/relationships/chart" Target="../charts/chart464.xml"/><Relationship Id="rId14" Type="http://schemas.openxmlformats.org/officeDocument/2006/relationships/chart" Target="../charts/chart465.xml"/><Relationship Id="rId15" Type="http://schemas.openxmlformats.org/officeDocument/2006/relationships/chart" Target="../charts/chart466.xml"/><Relationship Id="rId16" Type="http://schemas.openxmlformats.org/officeDocument/2006/relationships/chart" Target="../charts/chart467.xml"/><Relationship Id="rId17" Type="http://schemas.openxmlformats.org/officeDocument/2006/relationships/chart" Target="../charts/chart46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9.xml"/><Relationship Id="rId7" Type="http://schemas.openxmlformats.org/officeDocument/2006/relationships/chart" Target="../charts/chart470.xml"/><Relationship Id="rId8" Type="http://schemas.openxmlformats.org/officeDocument/2006/relationships/chart" Target="../charts/chart471.xml"/><Relationship Id="rId9" Type="http://schemas.openxmlformats.org/officeDocument/2006/relationships/chart" Target="../charts/chart472.xml"/><Relationship Id="rId10" Type="http://schemas.openxmlformats.org/officeDocument/2006/relationships/chart" Target="../charts/chart473.xml"/><Relationship Id="rId11" Type="http://schemas.openxmlformats.org/officeDocument/2006/relationships/chart" Target="../charts/chart474.xml"/><Relationship Id="rId12" Type="http://schemas.openxmlformats.org/officeDocument/2006/relationships/chart" Target="../charts/chart475.xml"/><Relationship Id="rId13" Type="http://schemas.openxmlformats.org/officeDocument/2006/relationships/chart" Target="../charts/chart476.xml"/><Relationship Id="rId14" Type="http://schemas.openxmlformats.org/officeDocument/2006/relationships/chart" Target="../charts/chart477.xml"/><Relationship Id="rId15" Type="http://schemas.openxmlformats.org/officeDocument/2006/relationships/chart" Target="../charts/chart478.xml"/><Relationship Id="rId16" Type="http://schemas.openxmlformats.org/officeDocument/2006/relationships/chart" Target="../charts/chart479.xml"/><Relationship Id="rId17" Type="http://schemas.openxmlformats.org/officeDocument/2006/relationships/chart" Target="../charts/chart4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 Id="rId8" Type="http://schemas.openxmlformats.org/officeDocument/2006/relationships/chart" Target="../charts/chart483.xml"/><Relationship Id="rId9" Type="http://schemas.openxmlformats.org/officeDocument/2006/relationships/chart" Target="../charts/chart484.xml"/><Relationship Id="rId10" Type="http://schemas.openxmlformats.org/officeDocument/2006/relationships/chart" Target="../charts/chart485.xml"/><Relationship Id="rId11" Type="http://schemas.openxmlformats.org/officeDocument/2006/relationships/chart" Target="../charts/chart486.xml"/><Relationship Id="rId12" Type="http://schemas.openxmlformats.org/officeDocument/2006/relationships/chart" Target="../charts/chart487.xml"/><Relationship Id="rId13" Type="http://schemas.openxmlformats.org/officeDocument/2006/relationships/chart" Target="../charts/chart488.xml"/><Relationship Id="rId14" Type="http://schemas.openxmlformats.org/officeDocument/2006/relationships/chart" Target="../charts/chart489.xml"/><Relationship Id="rId15" Type="http://schemas.openxmlformats.org/officeDocument/2006/relationships/chart" Target="../charts/chart490.xml"/><Relationship Id="rId16" Type="http://schemas.openxmlformats.org/officeDocument/2006/relationships/chart" Target="../charts/chart491.xml"/><Relationship Id="rId17" Type="http://schemas.openxmlformats.org/officeDocument/2006/relationships/chart" Target="../charts/chart49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 Id="rId7" Type="http://schemas.openxmlformats.org/officeDocument/2006/relationships/chart" Target="../charts/chart494.xml"/><Relationship Id="rId8" Type="http://schemas.openxmlformats.org/officeDocument/2006/relationships/chart" Target="../charts/chart495.xml"/><Relationship Id="rId9" Type="http://schemas.openxmlformats.org/officeDocument/2006/relationships/chart" Target="../charts/chart496.xml"/><Relationship Id="rId10" Type="http://schemas.openxmlformats.org/officeDocument/2006/relationships/chart" Target="../charts/chart497.xml"/><Relationship Id="rId11" Type="http://schemas.openxmlformats.org/officeDocument/2006/relationships/chart" Target="../charts/chart498.xml"/><Relationship Id="rId12" Type="http://schemas.openxmlformats.org/officeDocument/2006/relationships/chart" Target="../charts/chart499.xml"/><Relationship Id="rId13" Type="http://schemas.openxmlformats.org/officeDocument/2006/relationships/chart" Target="../charts/chart500.xml"/><Relationship Id="rId14" Type="http://schemas.openxmlformats.org/officeDocument/2006/relationships/chart" Target="../charts/chart501.xml"/><Relationship Id="rId15" Type="http://schemas.openxmlformats.org/officeDocument/2006/relationships/chart" Target="../charts/chart502.xml"/><Relationship Id="rId16" Type="http://schemas.openxmlformats.org/officeDocument/2006/relationships/chart" Target="../charts/chart503.xml"/><Relationship Id="rId17" Type="http://schemas.openxmlformats.org/officeDocument/2006/relationships/chart" Target="../charts/chart50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 Id="rId8" Type="http://schemas.openxmlformats.org/officeDocument/2006/relationships/chart" Target="../charts/chart507.xml"/><Relationship Id="rId9" Type="http://schemas.openxmlformats.org/officeDocument/2006/relationships/chart" Target="../charts/chart508.xml"/><Relationship Id="rId10" Type="http://schemas.openxmlformats.org/officeDocument/2006/relationships/chart" Target="../charts/chart509.xml"/><Relationship Id="rId11" Type="http://schemas.openxmlformats.org/officeDocument/2006/relationships/chart" Target="../charts/chart510.xml"/><Relationship Id="rId12" Type="http://schemas.openxmlformats.org/officeDocument/2006/relationships/chart" Target="../charts/chart511.xml"/><Relationship Id="rId13" Type="http://schemas.openxmlformats.org/officeDocument/2006/relationships/chart" Target="../charts/chart512.xml"/><Relationship Id="rId14" Type="http://schemas.openxmlformats.org/officeDocument/2006/relationships/chart" Target="../charts/chart513.xml"/><Relationship Id="rId15" Type="http://schemas.openxmlformats.org/officeDocument/2006/relationships/chart" Target="../charts/chart514.xml"/><Relationship Id="rId16" Type="http://schemas.openxmlformats.org/officeDocument/2006/relationships/chart" Target="../charts/chart515.xml"/><Relationship Id="rId17" Type="http://schemas.openxmlformats.org/officeDocument/2006/relationships/chart" Target="../charts/chart51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7.xml"/><Relationship Id="rId7" Type="http://schemas.openxmlformats.org/officeDocument/2006/relationships/chart" Target="../charts/chart518.xml"/><Relationship Id="rId8" Type="http://schemas.openxmlformats.org/officeDocument/2006/relationships/chart" Target="../charts/chart519.xml"/><Relationship Id="rId9" Type="http://schemas.openxmlformats.org/officeDocument/2006/relationships/chart" Target="../charts/chart520.xml"/><Relationship Id="rId10" Type="http://schemas.openxmlformats.org/officeDocument/2006/relationships/chart" Target="../charts/chart521.xml"/><Relationship Id="rId11" Type="http://schemas.openxmlformats.org/officeDocument/2006/relationships/chart" Target="../charts/chart522.xml"/><Relationship Id="rId12" Type="http://schemas.openxmlformats.org/officeDocument/2006/relationships/chart" Target="../charts/chart523.xml"/><Relationship Id="rId13" Type="http://schemas.openxmlformats.org/officeDocument/2006/relationships/chart" Target="../charts/chart524.xml"/><Relationship Id="rId14" Type="http://schemas.openxmlformats.org/officeDocument/2006/relationships/chart" Target="../charts/chart525.xml"/><Relationship Id="rId15" Type="http://schemas.openxmlformats.org/officeDocument/2006/relationships/chart" Target="../charts/chart526.xml"/><Relationship Id="rId16" Type="http://schemas.openxmlformats.org/officeDocument/2006/relationships/chart" Target="../charts/chart527.xml"/><Relationship Id="rId17" Type="http://schemas.openxmlformats.org/officeDocument/2006/relationships/chart" Target="../charts/chart52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 Id="rId17" Type="http://schemas.openxmlformats.org/officeDocument/2006/relationships/chart" Target="../charts/chart54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1.xml"/><Relationship Id="rId7" Type="http://schemas.openxmlformats.org/officeDocument/2006/relationships/chart" Target="../charts/chart542.xml"/><Relationship Id="rId8" Type="http://schemas.openxmlformats.org/officeDocument/2006/relationships/chart" Target="../charts/chart543.xml"/><Relationship Id="rId9" Type="http://schemas.openxmlformats.org/officeDocument/2006/relationships/chart" Target="../charts/chart544.xml"/><Relationship Id="rId10" Type="http://schemas.openxmlformats.org/officeDocument/2006/relationships/chart" Target="../charts/chart545.xml"/><Relationship Id="rId11" Type="http://schemas.openxmlformats.org/officeDocument/2006/relationships/chart" Target="../charts/chart546.xml"/><Relationship Id="rId12" Type="http://schemas.openxmlformats.org/officeDocument/2006/relationships/chart" Target="../charts/chart547.xml"/><Relationship Id="rId13" Type="http://schemas.openxmlformats.org/officeDocument/2006/relationships/chart" Target="../charts/chart548.xml"/><Relationship Id="rId14" Type="http://schemas.openxmlformats.org/officeDocument/2006/relationships/chart" Target="../charts/chart549.xml"/><Relationship Id="rId15" Type="http://schemas.openxmlformats.org/officeDocument/2006/relationships/chart" Target="../charts/chart550.xml"/><Relationship Id="rId16" Type="http://schemas.openxmlformats.org/officeDocument/2006/relationships/chart" Target="../charts/chart551.xml"/><Relationship Id="rId17" Type="http://schemas.openxmlformats.org/officeDocument/2006/relationships/chart" Target="../charts/chart552.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3.xml"/><Relationship Id="rId7" Type="http://schemas.openxmlformats.org/officeDocument/2006/relationships/chart" Target="../charts/chart554.xml"/><Relationship Id="rId8" Type="http://schemas.openxmlformats.org/officeDocument/2006/relationships/chart" Target="../charts/chart555.xml"/><Relationship Id="rId9" Type="http://schemas.openxmlformats.org/officeDocument/2006/relationships/chart" Target="../charts/chart556.xml"/><Relationship Id="rId10" Type="http://schemas.openxmlformats.org/officeDocument/2006/relationships/chart" Target="../charts/chart557.xml"/><Relationship Id="rId11" Type="http://schemas.openxmlformats.org/officeDocument/2006/relationships/chart" Target="../charts/chart558.xml"/><Relationship Id="rId12" Type="http://schemas.openxmlformats.org/officeDocument/2006/relationships/chart" Target="../charts/chart559.xml"/><Relationship Id="rId13" Type="http://schemas.openxmlformats.org/officeDocument/2006/relationships/chart" Target="../charts/chart560.xml"/><Relationship Id="rId14" Type="http://schemas.openxmlformats.org/officeDocument/2006/relationships/chart" Target="../charts/chart561.xml"/><Relationship Id="rId15" Type="http://schemas.openxmlformats.org/officeDocument/2006/relationships/chart" Target="../charts/chart562.xml"/><Relationship Id="rId16" Type="http://schemas.openxmlformats.org/officeDocument/2006/relationships/chart" Target="../charts/chart563.xml"/><Relationship Id="rId17" Type="http://schemas.openxmlformats.org/officeDocument/2006/relationships/chart" Target="../charts/chart564.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5.xml"/><Relationship Id="rId7" Type="http://schemas.openxmlformats.org/officeDocument/2006/relationships/chart" Target="../charts/chart566.xml"/><Relationship Id="rId8" Type="http://schemas.openxmlformats.org/officeDocument/2006/relationships/chart" Target="../charts/chart567.xml"/><Relationship Id="rId9" Type="http://schemas.openxmlformats.org/officeDocument/2006/relationships/chart" Target="../charts/chart568.xml"/><Relationship Id="rId10" Type="http://schemas.openxmlformats.org/officeDocument/2006/relationships/chart" Target="../charts/chart569.xml"/><Relationship Id="rId11" Type="http://schemas.openxmlformats.org/officeDocument/2006/relationships/chart" Target="../charts/chart570.xml"/><Relationship Id="rId12" Type="http://schemas.openxmlformats.org/officeDocument/2006/relationships/chart" Target="../charts/chart571.xml"/><Relationship Id="rId13" Type="http://schemas.openxmlformats.org/officeDocument/2006/relationships/chart" Target="../charts/chart572.xml"/><Relationship Id="rId14" Type="http://schemas.openxmlformats.org/officeDocument/2006/relationships/chart" Target="../charts/chart573.xml"/><Relationship Id="rId15" Type="http://schemas.openxmlformats.org/officeDocument/2006/relationships/chart" Target="../charts/chart574.xml"/><Relationship Id="rId16" Type="http://schemas.openxmlformats.org/officeDocument/2006/relationships/chart" Target="../charts/chart575.xml"/><Relationship Id="rId17" Type="http://schemas.openxmlformats.org/officeDocument/2006/relationships/chart" Target="../charts/chart576.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7.xml"/><Relationship Id="rId7" Type="http://schemas.openxmlformats.org/officeDocument/2006/relationships/chart" Target="../charts/chart578.xml"/><Relationship Id="rId8" Type="http://schemas.openxmlformats.org/officeDocument/2006/relationships/chart" Target="../charts/chart579.xml"/><Relationship Id="rId9" Type="http://schemas.openxmlformats.org/officeDocument/2006/relationships/chart" Target="../charts/chart580.xml"/><Relationship Id="rId10" Type="http://schemas.openxmlformats.org/officeDocument/2006/relationships/chart" Target="../charts/chart581.xml"/><Relationship Id="rId11" Type="http://schemas.openxmlformats.org/officeDocument/2006/relationships/chart" Target="../charts/chart582.xml"/><Relationship Id="rId12" Type="http://schemas.openxmlformats.org/officeDocument/2006/relationships/chart" Target="../charts/chart583.xml"/><Relationship Id="rId13" Type="http://schemas.openxmlformats.org/officeDocument/2006/relationships/chart" Target="../charts/chart584.xml"/><Relationship Id="rId14" Type="http://schemas.openxmlformats.org/officeDocument/2006/relationships/chart" Target="../charts/chart585.xml"/><Relationship Id="rId15" Type="http://schemas.openxmlformats.org/officeDocument/2006/relationships/chart" Target="../charts/chart586.xml"/><Relationship Id="rId16" Type="http://schemas.openxmlformats.org/officeDocument/2006/relationships/chart" Target="../charts/chart587.xml"/><Relationship Id="rId17" Type="http://schemas.openxmlformats.org/officeDocument/2006/relationships/chart" Target="../charts/chart58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9.xml"/><Relationship Id="rId7" Type="http://schemas.openxmlformats.org/officeDocument/2006/relationships/chart" Target="../charts/chart590.xml"/><Relationship Id="rId8" Type="http://schemas.openxmlformats.org/officeDocument/2006/relationships/chart" Target="../charts/chart591.xml"/><Relationship Id="rId9" Type="http://schemas.openxmlformats.org/officeDocument/2006/relationships/chart" Target="../charts/chart592.xml"/><Relationship Id="rId10" Type="http://schemas.openxmlformats.org/officeDocument/2006/relationships/chart" Target="../charts/chart593.xml"/><Relationship Id="rId11" Type="http://schemas.openxmlformats.org/officeDocument/2006/relationships/chart" Target="../charts/chart594.xml"/><Relationship Id="rId12" Type="http://schemas.openxmlformats.org/officeDocument/2006/relationships/chart" Target="../charts/chart595.xml"/><Relationship Id="rId13" Type="http://schemas.openxmlformats.org/officeDocument/2006/relationships/chart" Target="../charts/chart596.xml"/><Relationship Id="rId14" Type="http://schemas.openxmlformats.org/officeDocument/2006/relationships/chart" Target="../charts/chart597.xml"/><Relationship Id="rId15" Type="http://schemas.openxmlformats.org/officeDocument/2006/relationships/chart" Target="../charts/chart598.xml"/><Relationship Id="rId16" Type="http://schemas.openxmlformats.org/officeDocument/2006/relationships/chart" Target="../charts/chart599.xml"/><Relationship Id="rId17" Type="http://schemas.openxmlformats.org/officeDocument/2006/relationships/chart" Target="../charts/chart60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1.xml"/><Relationship Id="rId7" Type="http://schemas.openxmlformats.org/officeDocument/2006/relationships/chart" Target="../charts/chart602.xml"/><Relationship Id="rId8" Type="http://schemas.openxmlformats.org/officeDocument/2006/relationships/chart" Target="../charts/chart603.xml"/><Relationship Id="rId9" Type="http://schemas.openxmlformats.org/officeDocument/2006/relationships/chart" Target="../charts/chart604.xml"/><Relationship Id="rId10" Type="http://schemas.openxmlformats.org/officeDocument/2006/relationships/chart" Target="../charts/chart605.xml"/><Relationship Id="rId11" Type="http://schemas.openxmlformats.org/officeDocument/2006/relationships/chart" Target="../charts/chart606.xml"/><Relationship Id="rId12" Type="http://schemas.openxmlformats.org/officeDocument/2006/relationships/chart" Target="../charts/chart607.xml"/><Relationship Id="rId13" Type="http://schemas.openxmlformats.org/officeDocument/2006/relationships/chart" Target="../charts/chart608.xml"/><Relationship Id="rId14" Type="http://schemas.openxmlformats.org/officeDocument/2006/relationships/chart" Target="../charts/chart609.xml"/><Relationship Id="rId15" Type="http://schemas.openxmlformats.org/officeDocument/2006/relationships/chart" Target="../charts/chart610.xml"/><Relationship Id="rId16" Type="http://schemas.openxmlformats.org/officeDocument/2006/relationships/chart" Target="../charts/chart611.xml"/><Relationship Id="rId17" Type="http://schemas.openxmlformats.org/officeDocument/2006/relationships/chart" Target="../charts/chart612.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3.xml"/><Relationship Id="rId7" Type="http://schemas.openxmlformats.org/officeDocument/2006/relationships/chart" Target="../charts/chart614.xml"/><Relationship Id="rId8" Type="http://schemas.openxmlformats.org/officeDocument/2006/relationships/chart" Target="../charts/chart615.xml"/><Relationship Id="rId9" Type="http://schemas.openxmlformats.org/officeDocument/2006/relationships/chart" Target="../charts/chart616.xml"/><Relationship Id="rId10" Type="http://schemas.openxmlformats.org/officeDocument/2006/relationships/chart" Target="../charts/chart617.xml"/><Relationship Id="rId11" Type="http://schemas.openxmlformats.org/officeDocument/2006/relationships/chart" Target="../charts/chart618.xml"/><Relationship Id="rId12" Type="http://schemas.openxmlformats.org/officeDocument/2006/relationships/chart" Target="../charts/chart619.xml"/><Relationship Id="rId13" Type="http://schemas.openxmlformats.org/officeDocument/2006/relationships/chart" Target="../charts/chart620.xml"/><Relationship Id="rId14" Type="http://schemas.openxmlformats.org/officeDocument/2006/relationships/chart" Target="../charts/chart621.xml"/><Relationship Id="rId15" Type="http://schemas.openxmlformats.org/officeDocument/2006/relationships/chart" Target="../charts/chart622.xml"/><Relationship Id="rId16" Type="http://schemas.openxmlformats.org/officeDocument/2006/relationships/chart" Target="../charts/chart623.xml"/><Relationship Id="rId17" Type="http://schemas.openxmlformats.org/officeDocument/2006/relationships/chart" Target="../charts/chart624.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5.xml"/><Relationship Id="rId7" Type="http://schemas.openxmlformats.org/officeDocument/2006/relationships/chart" Target="../charts/chart626.xml"/><Relationship Id="rId8" Type="http://schemas.openxmlformats.org/officeDocument/2006/relationships/chart" Target="../charts/chart627.xml"/><Relationship Id="rId9" Type="http://schemas.openxmlformats.org/officeDocument/2006/relationships/chart" Target="../charts/chart628.xml"/><Relationship Id="rId10" Type="http://schemas.openxmlformats.org/officeDocument/2006/relationships/chart" Target="../charts/chart629.xml"/><Relationship Id="rId11" Type="http://schemas.openxmlformats.org/officeDocument/2006/relationships/chart" Target="../charts/chart630.xml"/><Relationship Id="rId12" Type="http://schemas.openxmlformats.org/officeDocument/2006/relationships/chart" Target="../charts/chart631.xml"/><Relationship Id="rId13" Type="http://schemas.openxmlformats.org/officeDocument/2006/relationships/chart" Target="../charts/chart632.xml"/><Relationship Id="rId14" Type="http://schemas.openxmlformats.org/officeDocument/2006/relationships/chart" Target="../charts/chart633.xml"/><Relationship Id="rId15" Type="http://schemas.openxmlformats.org/officeDocument/2006/relationships/chart" Target="../charts/chart634.xml"/><Relationship Id="rId16" Type="http://schemas.openxmlformats.org/officeDocument/2006/relationships/chart" Target="../charts/chart635.xml"/><Relationship Id="rId17" Type="http://schemas.openxmlformats.org/officeDocument/2006/relationships/chart" Target="../charts/chart636.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7.xml"/><Relationship Id="rId7" Type="http://schemas.openxmlformats.org/officeDocument/2006/relationships/chart" Target="../charts/chart638.xml"/><Relationship Id="rId8" Type="http://schemas.openxmlformats.org/officeDocument/2006/relationships/chart" Target="../charts/chart639.xml"/><Relationship Id="rId9" Type="http://schemas.openxmlformats.org/officeDocument/2006/relationships/chart" Target="../charts/chart640.xml"/><Relationship Id="rId10" Type="http://schemas.openxmlformats.org/officeDocument/2006/relationships/chart" Target="../charts/chart641.xml"/><Relationship Id="rId11" Type="http://schemas.openxmlformats.org/officeDocument/2006/relationships/chart" Target="../charts/chart642.xml"/><Relationship Id="rId12" Type="http://schemas.openxmlformats.org/officeDocument/2006/relationships/chart" Target="../charts/chart643.xml"/><Relationship Id="rId13" Type="http://schemas.openxmlformats.org/officeDocument/2006/relationships/chart" Target="../charts/chart644.xml"/><Relationship Id="rId14" Type="http://schemas.openxmlformats.org/officeDocument/2006/relationships/chart" Target="../charts/chart645.xml"/><Relationship Id="rId15" Type="http://schemas.openxmlformats.org/officeDocument/2006/relationships/chart" Target="../charts/chart646.xml"/><Relationship Id="rId16" Type="http://schemas.openxmlformats.org/officeDocument/2006/relationships/chart" Target="../charts/chart647.xml"/><Relationship Id="rId17" Type="http://schemas.openxmlformats.org/officeDocument/2006/relationships/chart" Target="../charts/chart648.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596555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750418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672669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862251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823838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751039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797655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439975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942315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55251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83684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167610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354367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50495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941573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971904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811494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227200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8939839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231587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757524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369452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994275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723961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706085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346795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70558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447884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730210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474362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849418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040167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152447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305469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315147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406266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567111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025779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751533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319375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673266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844056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327477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090387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203100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360251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3095282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801214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8639872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2336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981085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310042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4871982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091327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7506</Words>
  <Application>Microsoft Office PowerPoint</Application>
  <PresentationFormat>On-screen Show (16:9)</PresentationFormat>
  <Paragraphs>2268</Paragraphs>
  <Slides>54</Slides>
  <Notes>5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4</vt:i4>
      </vt:variant>
    </vt:vector>
  </HeadingPairs>
  <TitlesOfParts>
    <vt:vector size="65"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2:4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